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8" r:id="rId4"/>
  </p:sldMasterIdLst>
  <p:notesMasterIdLst>
    <p:notesMasterId r:id="rId6"/>
  </p:notesMasterIdLst>
  <p:sldIdLst>
    <p:sldId id="2147481397" r:id="rId5"/>
  </p:sldIdLst>
  <p:sldSz cx="12192000" cy="6858000"/>
  <p:notesSz cx="6858000" cy="9144000"/>
  <p:custDataLst>
    <p:tags r:id="rId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AFABAB"/>
    <a:srgbClr val="7F7F7F"/>
    <a:srgbClr val="000000"/>
    <a:srgbClr val="D35B5B"/>
    <a:srgbClr val="FC5959"/>
    <a:srgbClr val="FCA7AE"/>
    <a:srgbClr val="D65E5E"/>
    <a:srgbClr val="F6F6F6"/>
    <a:srgbClr val="EE000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howGuides="1">
      <p:cViewPr varScale="1">
        <p:scale>
          <a:sx n="120" d="100"/>
          <a:sy n="120" d="100"/>
        </p:scale>
        <p:origin x="92" y="4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ennis Deutschkämer" userId="8055905b-7165-4492-9d66-a4c10e40e5d1" providerId="ADAL" clId="{52988436-3A89-4BB7-A418-52521FA54BAB}"/>
    <pc:docChg chg="undo custSel delSld modSld">
      <pc:chgData name="Dennis Deutschkämer" userId="8055905b-7165-4492-9d66-a4c10e40e5d1" providerId="ADAL" clId="{52988436-3A89-4BB7-A418-52521FA54BAB}" dt="2024-11-05T11:57:15.035" v="648" actId="47"/>
      <pc:docMkLst>
        <pc:docMk/>
      </pc:docMkLst>
      <pc:sldChg chg="modSp mod">
        <pc:chgData name="Dennis Deutschkämer" userId="8055905b-7165-4492-9d66-a4c10e40e5d1" providerId="ADAL" clId="{52988436-3A89-4BB7-A418-52521FA54BAB}" dt="2024-11-05T11:57:07.825" v="647" actId="313"/>
        <pc:sldMkLst>
          <pc:docMk/>
          <pc:sldMk cId="632808847" sldId="2147481397"/>
        </pc:sldMkLst>
        <pc:spChg chg="mod">
          <ac:chgData name="Dennis Deutschkämer" userId="8055905b-7165-4492-9d66-a4c10e40e5d1" providerId="ADAL" clId="{52988436-3A89-4BB7-A418-52521FA54BAB}" dt="2024-11-05T11:55:06.214" v="205" actId="20577"/>
          <ac:spMkLst>
            <pc:docMk/>
            <pc:sldMk cId="632808847" sldId="2147481397"/>
            <ac:spMk id="6" creationId="{C1149F4B-4F12-7E98-422F-0A23B48CE34A}"/>
          </ac:spMkLst>
        </pc:spChg>
        <pc:spChg chg="mod">
          <ac:chgData name="Dennis Deutschkämer" userId="8055905b-7165-4492-9d66-a4c10e40e5d1" providerId="ADAL" clId="{52988436-3A89-4BB7-A418-52521FA54BAB}" dt="2024-11-05T11:54:46.344" v="178" actId="790"/>
          <ac:spMkLst>
            <pc:docMk/>
            <pc:sldMk cId="632808847" sldId="2147481397"/>
            <ac:spMk id="14" creationId="{B92387FF-9892-0F8B-56DF-45875023BFB1}"/>
          </ac:spMkLst>
        </pc:spChg>
        <pc:spChg chg="mod">
          <ac:chgData name="Dennis Deutschkämer" userId="8055905b-7165-4492-9d66-a4c10e40e5d1" providerId="ADAL" clId="{52988436-3A89-4BB7-A418-52521FA54BAB}" dt="2024-11-05T11:54:46.344" v="178" actId="790"/>
          <ac:spMkLst>
            <pc:docMk/>
            <pc:sldMk cId="632808847" sldId="2147481397"/>
            <ac:spMk id="18" creationId="{61E039C5-993F-1B67-DD24-9ADA1A7704DD}"/>
          </ac:spMkLst>
        </pc:spChg>
        <pc:spChg chg="mod">
          <ac:chgData name="Dennis Deutschkämer" userId="8055905b-7165-4492-9d66-a4c10e40e5d1" providerId="ADAL" clId="{52988436-3A89-4BB7-A418-52521FA54BAB}" dt="2024-11-05T11:54:46.344" v="178" actId="790"/>
          <ac:spMkLst>
            <pc:docMk/>
            <pc:sldMk cId="632808847" sldId="2147481397"/>
            <ac:spMk id="25" creationId="{1515B69F-08EA-EFEC-736B-EBEF8E86AEAF}"/>
          </ac:spMkLst>
        </pc:spChg>
        <pc:spChg chg="mod">
          <ac:chgData name="Dennis Deutschkämer" userId="8055905b-7165-4492-9d66-a4c10e40e5d1" providerId="ADAL" clId="{52988436-3A89-4BB7-A418-52521FA54BAB}" dt="2024-11-05T11:54:46.344" v="178" actId="790"/>
          <ac:spMkLst>
            <pc:docMk/>
            <pc:sldMk cId="632808847" sldId="2147481397"/>
            <ac:spMk id="31" creationId="{EDBDF035-7EB1-38F3-B172-7BDCEECDCFFB}"/>
          </ac:spMkLst>
        </pc:spChg>
        <pc:spChg chg="mod">
          <ac:chgData name="Dennis Deutschkämer" userId="8055905b-7165-4492-9d66-a4c10e40e5d1" providerId="ADAL" clId="{52988436-3A89-4BB7-A418-52521FA54BAB}" dt="2024-11-05T11:54:46.344" v="178" actId="790"/>
          <ac:spMkLst>
            <pc:docMk/>
            <pc:sldMk cId="632808847" sldId="2147481397"/>
            <ac:spMk id="32" creationId="{EF9D9477-7D7E-1D99-CC9F-94695927020A}"/>
          </ac:spMkLst>
        </pc:spChg>
        <pc:spChg chg="mod">
          <ac:chgData name="Dennis Deutschkämer" userId="8055905b-7165-4492-9d66-a4c10e40e5d1" providerId="ADAL" clId="{52988436-3A89-4BB7-A418-52521FA54BAB}" dt="2024-11-05T11:54:46.344" v="178" actId="790"/>
          <ac:spMkLst>
            <pc:docMk/>
            <pc:sldMk cId="632808847" sldId="2147481397"/>
            <ac:spMk id="33" creationId="{D9EE7ECA-D3AC-430B-5F27-156CCAF73FB9}"/>
          </ac:spMkLst>
        </pc:spChg>
        <pc:spChg chg="mod">
          <ac:chgData name="Dennis Deutschkämer" userId="8055905b-7165-4492-9d66-a4c10e40e5d1" providerId="ADAL" clId="{52988436-3A89-4BB7-A418-52521FA54BAB}" dt="2024-11-05T11:54:46.344" v="178" actId="790"/>
          <ac:spMkLst>
            <pc:docMk/>
            <pc:sldMk cId="632808847" sldId="2147481397"/>
            <ac:spMk id="34" creationId="{BEC899E9-0F06-005B-94DA-695247A9AD49}"/>
          </ac:spMkLst>
        </pc:spChg>
        <pc:spChg chg="mod">
          <ac:chgData name="Dennis Deutschkämer" userId="8055905b-7165-4492-9d66-a4c10e40e5d1" providerId="ADAL" clId="{52988436-3A89-4BB7-A418-52521FA54BAB}" dt="2024-11-05T11:57:07.825" v="647" actId="313"/>
          <ac:spMkLst>
            <pc:docMk/>
            <pc:sldMk cId="632808847" sldId="2147481397"/>
            <ac:spMk id="35" creationId="{90B0375B-6FA7-672B-F885-9323CA8CE15A}"/>
          </ac:spMkLst>
        </pc:spChg>
        <pc:spChg chg="mod">
          <ac:chgData name="Dennis Deutschkämer" userId="8055905b-7165-4492-9d66-a4c10e40e5d1" providerId="ADAL" clId="{52988436-3A89-4BB7-A418-52521FA54BAB}" dt="2024-11-05T11:54:46.344" v="178" actId="790"/>
          <ac:spMkLst>
            <pc:docMk/>
            <pc:sldMk cId="632808847" sldId="2147481397"/>
            <ac:spMk id="36" creationId="{23E2449D-AC21-6DFE-74A1-EDA2FC9BEDE8}"/>
          </ac:spMkLst>
        </pc:spChg>
        <pc:spChg chg="mod">
          <ac:chgData name="Dennis Deutschkämer" userId="8055905b-7165-4492-9d66-a4c10e40e5d1" providerId="ADAL" clId="{52988436-3A89-4BB7-A418-52521FA54BAB}" dt="2024-11-05T11:54:46.344" v="178" actId="790"/>
          <ac:spMkLst>
            <pc:docMk/>
            <pc:sldMk cId="632808847" sldId="2147481397"/>
            <ac:spMk id="46" creationId="{1493C97B-6921-0BA3-C1B2-EB72BC81AC1D}"/>
          </ac:spMkLst>
        </pc:spChg>
        <pc:spChg chg="mod">
          <ac:chgData name="Dennis Deutschkämer" userId="8055905b-7165-4492-9d66-a4c10e40e5d1" providerId="ADAL" clId="{52988436-3A89-4BB7-A418-52521FA54BAB}" dt="2024-11-05T11:54:46.344" v="178" actId="790"/>
          <ac:spMkLst>
            <pc:docMk/>
            <pc:sldMk cId="632808847" sldId="2147481397"/>
            <ac:spMk id="53" creationId="{7EA416A8-5D26-5592-C521-01E2F7438F79}"/>
          </ac:spMkLst>
        </pc:spChg>
        <pc:spChg chg="mod">
          <ac:chgData name="Dennis Deutschkämer" userId="8055905b-7165-4492-9d66-a4c10e40e5d1" providerId="ADAL" clId="{52988436-3A89-4BB7-A418-52521FA54BAB}" dt="2024-11-05T11:54:46.344" v="178" actId="790"/>
          <ac:spMkLst>
            <pc:docMk/>
            <pc:sldMk cId="632808847" sldId="2147481397"/>
            <ac:spMk id="55" creationId="{5EAE4D00-E7B9-8822-3EE6-34EA794EF964}"/>
          </ac:spMkLst>
        </pc:spChg>
        <pc:graphicFrameChg chg="modGraphic">
          <ac:chgData name="Dennis Deutschkämer" userId="8055905b-7165-4492-9d66-a4c10e40e5d1" providerId="ADAL" clId="{52988436-3A89-4BB7-A418-52521FA54BAB}" dt="2024-11-05T11:54:46.344" v="178" actId="790"/>
          <ac:graphicFrameMkLst>
            <pc:docMk/>
            <pc:sldMk cId="632808847" sldId="2147481397"/>
            <ac:graphicFrameMk id="3" creationId="{F662B995-C915-24B5-2081-08B41DB130BB}"/>
          </ac:graphicFrameMkLst>
        </pc:graphicFrameChg>
      </pc:sldChg>
      <pc:sldChg chg="modSp del mod">
        <pc:chgData name="Dennis Deutschkämer" userId="8055905b-7165-4492-9d66-a4c10e40e5d1" providerId="ADAL" clId="{52988436-3A89-4BB7-A418-52521FA54BAB}" dt="2024-11-05T11:57:15.035" v="648" actId="47"/>
        <pc:sldMkLst>
          <pc:docMk/>
          <pc:sldMk cId="2517612875" sldId="2147481399"/>
        </pc:sldMkLst>
        <pc:spChg chg="mod">
          <ac:chgData name="Dennis Deutschkämer" userId="8055905b-7165-4492-9d66-a4c10e40e5d1" providerId="ADAL" clId="{52988436-3A89-4BB7-A418-52521FA54BAB}" dt="2024-11-05T11:54:46.344" v="178" actId="790"/>
          <ac:spMkLst>
            <pc:docMk/>
            <pc:sldMk cId="2517612875" sldId="2147481399"/>
            <ac:spMk id="2" creationId="{27CF361F-D284-C837-915A-8DDDB9026A2D}"/>
          </ac:spMkLst>
        </pc:spChg>
        <pc:spChg chg="mod">
          <ac:chgData name="Dennis Deutschkämer" userId="8055905b-7165-4492-9d66-a4c10e40e5d1" providerId="ADAL" clId="{52988436-3A89-4BB7-A418-52521FA54BAB}" dt="2024-11-05T11:54:46.344" v="178" actId="790"/>
          <ac:spMkLst>
            <pc:docMk/>
            <pc:sldMk cId="2517612875" sldId="2147481399"/>
            <ac:spMk id="6" creationId="{01171743-66BC-D7CC-97BC-DCEA94BE6744}"/>
          </ac:spMkLst>
        </pc:spChg>
        <pc:spChg chg="mod">
          <ac:chgData name="Dennis Deutschkämer" userId="8055905b-7165-4492-9d66-a4c10e40e5d1" providerId="ADAL" clId="{52988436-3A89-4BB7-A418-52521FA54BAB}" dt="2024-11-05T11:54:46.344" v="178" actId="790"/>
          <ac:spMkLst>
            <pc:docMk/>
            <pc:sldMk cId="2517612875" sldId="2147481399"/>
            <ac:spMk id="14" creationId="{CAF7A2A2-9367-78FC-E723-842206E5C511}"/>
          </ac:spMkLst>
        </pc:spChg>
        <pc:spChg chg="mod">
          <ac:chgData name="Dennis Deutschkämer" userId="8055905b-7165-4492-9d66-a4c10e40e5d1" providerId="ADAL" clId="{52988436-3A89-4BB7-A418-52521FA54BAB}" dt="2024-11-05T11:54:46.344" v="178" actId="790"/>
          <ac:spMkLst>
            <pc:docMk/>
            <pc:sldMk cId="2517612875" sldId="2147481399"/>
            <ac:spMk id="25" creationId="{3CC5620D-8BBA-6E61-FD69-C5EADA6ECF7B}"/>
          </ac:spMkLst>
        </pc:spChg>
        <pc:spChg chg="mod">
          <ac:chgData name="Dennis Deutschkämer" userId="8055905b-7165-4492-9d66-a4c10e40e5d1" providerId="ADAL" clId="{52988436-3A89-4BB7-A418-52521FA54BAB}" dt="2024-11-05T11:54:46.344" v="178" actId="790"/>
          <ac:spMkLst>
            <pc:docMk/>
            <pc:sldMk cId="2517612875" sldId="2147481399"/>
            <ac:spMk id="31" creationId="{6426DCF3-0490-23D2-2189-40A648F2B090}"/>
          </ac:spMkLst>
        </pc:spChg>
        <pc:spChg chg="mod">
          <ac:chgData name="Dennis Deutschkämer" userId="8055905b-7165-4492-9d66-a4c10e40e5d1" providerId="ADAL" clId="{52988436-3A89-4BB7-A418-52521FA54BAB}" dt="2024-11-05T11:54:46.344" v="178" actId="790"/>
          <ac:spMkLst>
            <pc:docMk/>
            <pc:sldMk cId="2517612875" sldId="2147481399"/>
            <ac:spMk id="32" creationId="{EB98EE12-0F57-2290-8A2F-5AE6C5F6E1D1}"/>
          </ac:spMkLst>
        </pc:spChg>
        <pc:spChg chg="mod">
          <ac:chgData name="Dennis Deutschkämer" userId="8055905b-7165-4492-9d66-a4c10e40e5d1" providerId="ADAL" clId="{52988436-3A89-4BB7-A418-52521FA54BAB}" dt="2024-11-05T11:54:46.344" v="178" actId="790"/>
          <ac:spMkLst>
            <pc:docMk/>
            <pc:sldMk cId="2517612875" sldId="2147481399"/>
            <ac:spMk id="33" creationId="{8DFD249E-DDF8-C0C4-33FD-65E7A4F2EA47}"/>
          </ac:spMkLst>
        </pc:spChg>
        <pc:spChg chg="mod">
          <ac:chgData name="Dennis Deutschkämer" userId="8055905b-7165-4492-9d66-a4c10e40e5d1" providerId="ADAL" clId="{52988436-3A89-4BB7-A418-52521FA54BAB}" dt="2024-11-05T11:54:46.344" v="178" actId="790"/>
          <ac:spMkLst>
            <pc:docMk/>
            <pc:sldMk cId="2517612875" sldId="2147481399"/>
            <ac:spMk id="34" creationId="{A3AA0DE4-D6A8-8181-1B75-FC561F317E3F}"/>
          </ac:spMkLst>
        </pc:spChg>
        <pc:spChg chg="mod">
          <ac:chgData name="Dennis Deutschkämer" userId="8055905b-7165-4492-9d66-a4c10e40e5d1" providerId="ADAL" clId="{52988436-3A89-4BB7-A418-52521FA54BAB}" dt="2024-11-05T11:54:46.344" v="178" actId="790"/>
          <ac:spMkLst>
            <pc:docMk/>
            <pc:sldMk cId="2517612875" sldId="2147481399"/>
            <ac:spMk id="35" creationId="{0391FFF1-8EB4-3A0A-E7C9-FF5AD342523A}"/>
          </ac:spMkLst>
        </pc:spChg>
        <pc:spChg chg="mod">
          <ac:chgData name="Dennis Deutschkämer" userId="8055905b-7165-4492-9d66-a4c10e40e5d1" providerId="ADAL" clId="{52988436-3A89-4BB7-A418-52521FA54BAB}" dt="2024-11-05T11:54:46.344" v="178" actId="790"/>
          <ac:spMkLst>
            <pc:docMk/>
            <pc:sldMk cId="2517612875" sldId="2147481399"/>
            <ac:spMk id="36" creationId="{29DBA0EF-7B23-17EB-79C1-DB40FB95214E}"/>
          </ac:spMkLst>
        </pc:spChg>
        <pc:spChg chg="mod">
          <ac:chgData name="Dennis Deutschkämer" userId="8055905b-7165-4492-9d66-a4c10e40e5d1" providerId="ADAL" clId="{52988436-3A89-4BB7-A418-52521FA54BAB}" dt="2024-11-05T11:54:46.344" v="178" actId="790"/>
          <ac:spMkLst>
            <pc:docMk/>
            <pc:sldMk cId="2517612875" sldId="2147481399"/>
            <ac:spMk id="46" creationId="{87D125AC-5065-2DCD-5CE9-53239073D75B}"/>
          </ac:spMkLst>
        </pc:spChg>
        <pc:spChg chg="mod">
          <ac:chgData name="Dennis Deutschkämer" userId="8055905b-7165-4492-9d66-a4c10e40e5d1" providerId="ADAL" clId="{52988436-3A89-4BB7-A418-52521FA54BAB}" dt="2024-11-05T11:54:46.344" v="178" actId="790"/>
          <ac:spMkLst>
            <pc:docMk/>
            <pc:sldMk cId="2517612875" sldId="2147481399"/>
            <ac:spMk id="48" creationId="{E3373762-DD12-CEB4-FD4F-B8C6ABADD465}"/>
          </ac:spMkLst>
        </pc:spChg>
        <pc:spChg chg="mod">
          <ac:chgData name="Dennis Deutschkämer" userId="8055905b-7165-4492-9d66-a4c10e40e5d1" providerId="ADAL" clId="{52988436-3A89-4BB7-A418-52521FA54BAB}" dt="2024-11-05T11:54:46.344" v="178" actId="790"/>
          <ac:spMkLst>
            <pc:docMk/>
            <pc:sldMk cId="2517612875" sldId="2147481399"/>
            <ac:spMk id="53" creationId="{E47118DA-0794-EAED-0F7A-CA15C250061E}"/>
          </ac:spMkLst>
        </pc:spChg>
        <pc:spChg chg="mod">
          <ac:chgData name="Dennis Deutschkämer" userId="8055905b-7165-4492-9d66-a4c10e40e5d1" providerId="ADAL" clId="{52988436-3A89-4BB7-A418-52521FA54BAB}" dt="2024-11-05T11:54:46.344" v="178" actId="790"/>
          <ac:spMkLst>
            <pc:docMk/>
            <pc:sldMk cId="2517612875" sldId="2147481399"/>
            <ac:spMk id="55" creationId="{2C714BFE-88E7-0FCB-F498-404B87F044CA}"/>
          </ac:spMkLst>
        </pc:spChg>
        <pc:graphicFrameChg chg="modGraphic">
          <ac:chgData name="Dennis Deutschkämer" userId="8055905b-7165-4492-9d66-a4c10e40e5d1" providerId="ADAL" clId="{52988436-3A89-4BB7-A418-52521FA54BAB}" dt="2024-11-05T11:54:46.344" v="178" actId="790"/>
          <ac:graphicFrameMkLst>
            <pc:docMk/>
            <pc:sldMk cId="2517612875" sldId="2147481399"/>
            <ac:graphicFrameMk id="3" creationId="{9A2F18E8-6A63-FA57-AEA9-386353FC6711}"/>
          </ac:graphicFrameMkLst>
        </pc:graphicFrame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429480E-9F5D-44AE-B553-146BE86DA397}" type="datetimeFigureOut">
              <a:rPr lang="de-DE" smtClean="0"/>
              <a:t>05.11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832A63-BD0A-4328-8E91-00F0E31A6D9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671244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CF7605-78F5-1A83-FAEC-B6FD57BC04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571DDFB-5194-36D0-13BF-13F0351068A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11897C9-A1CD-A960-868D-E07899FF106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B2FA2D-0DC7-6B68-A66C-DD7D27CBD0C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E78A3C-76F5-3148-9B96-B73C461B58AB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86400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oleObject" Target="../embeddings/oleObject4.bin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1958FFA-FC9C-E1A4-A9BC-CB7252B5BC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29211" y="6527132"/>
            <a:ext cx="745956" cy="264694"/>
          </a:xfrm>
          <a:prstGeom prst="rect">
            <a:avLst/>
          </a:prstGeom>
        </p:spPr>
        <p:txBody>
          <a:bodyPr/>
          <a:lstStyle>
            <a:lvl1pPr algn="r">
              <a:defRPr sz="11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lnSpc>
                <a:spcPct val="110000"/>
              </a:lnSpc>
              <a:buFont typeface="Arial" panose="020B0604020202020204" pitchFamily="34" charset="0"/>
              <a:buNone/>
            </a:pPr>
            <a:fld id="{627AE0CB-DDA9-4CF5-B026-ABA35A8C4C42}" type="slidenum">
              <a:rPr lang="de-DE"/>
              <a:pPr>
                <a:lnSpc>
                  <a:spcPct val="110000"/>
                </a:lnSpc>
                <a:buFont typeface="Arial" panose="020B0604020202020204" pitchFamily="34" charset="0"/>
                <a:buNone/>
              </a:pPr>
              <a:t>‹Nr.›</a:t>
            </a:fld>
            <a:endParaRPr lang="de-DE"/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C2D0073A-6E85-F2D8-F346-DEF0A590F5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568" y="219854"/>
            <a:ext cx="8753655" cy="52076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4955393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E1E9CB-DCBF-7BEB-C81F-E82C185384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D553A4-00A1-6798-C720-AD00CBDF39A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lnSpc>
                <a:spcPct val="110000"/>
              </a:lnSpc>
              <a:buFont typeface="Arial" panose="020B0604020202020204" pitchFamily="34" charset="0"/>
              <a:buNone/>
            </a:pPr>
            <a:fld id="{627AE0CB-DDA9-4CF5-B026-ABA35A8C4C42}" type="slidenum">
              <a:rPr lang="de-DE" smtClean="0"/>
              <a:pPr>
                <a:lnSpc>
                  <a:spcPct val="110000"/>
                </a:lnSpc>
                <a:buFont typeface="Arial" panose="020B0604020202020204" pitchFamily="34" charset="0"/>
                <a:buNone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971221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9845D22-982C-425D-B3AB-1BFA0B389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030" y="465393"/>
            <a:ext cx="10213394" cy="4680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58CD79A-0F61-47AC-92F5-B09AD52D05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7030" y="1627094"/>
            <a:ext cx="11510008" cy="4865781"/>
          </a:xfrm>
          <a:prstGeom prst="rect">
            <a:avLst/>
          </a:prstGeom>
        </p:spPr>
        <p:txBody>
          <a:bodyPr/>
          <a:lstStyle>
            <a:lvl1pPr marL="180975" indent="-180975">
              <a:defRPr sz="1400"/>
            </a:lvl1pPr>
            <a:lvl2pPr marL="625475" indent="-168275">
              <a:defRPr sz="1200"/>
            </a:lvl2pPr>
            <a:lvl3pPr marL="1074738" indent="-160338">
              <a:defRPr sz="1200"/>
            </a:lvl3pPr>
            <a:lvl4pPr marL="1524000" indent="-152400">
              <a:defRPr sz="1200"/>
            </a:lvl4pPr>
            <a:lvl5pPr marL="1973263" indent="-144463">
              <a:defRPr sz="12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B7BFB6E-041C-4D6A-8F0A-87865EFF7B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7030" y="6593541"/>
            <a:ext cx="683913" cy="19068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50"/>
            </a:lvl1pPr>
          </a:lstStyle>
          <a:p>
            <a:fld id="{0F1916E0-8657-45C2-AD62-9B17BB736090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09810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1">
          <p15:clr>
            <a:srgbClr val="FBAE40"/>
          </p15:clr>
        </p15:guide>
        <p15:guide id="2" orient="horz" pos="1026">
          <p15:clr>
            <a:srgbClr val="FBAE40"/>
          </p15:clr>
        </p15:guide>
        <p15:guide id="3" orient="horz" pos="4088">
          <p15:clr>
            <a:srgbClr val="FBAE40"/>
          </p15:clr>
        </p15:guide>
        <p15:guide id="4" pos="746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 Title, action title and tex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425F633-74B1-966B-09BF-401AAD86B6C4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r>
              <a:rPr lang="en-DE" noProof="0"/>
              <a:t>07.02.2024</a:t>
            </a:r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E0C1D7A-B4A9-2164-BBD6-BBAB508404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r>
              <a:rPr lang="en-GB" noProof="0"/>
              <a:t>Department K-DPD  |  GDPF Workshop in WOB  |  CSD-class</a:t>
            </a:r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B490FCE-2BE3-C232-F8C8-3614C79C9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fld id="{53C98C43-8B83-4748-BA0D-B0C90A16569F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874EFD6-14E9-AAD6-30AA-E5A2849D0B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406400" y="1056085"/>
            <a:ext cx="11380751" cy="276999"/>
          </a:xfrm>
        </p:spPr>
        <p:txBody>
          <a:bodyPr wrap="square">
            <a:spAutoFit/>
          </a:bodyPr>
          <a:lstStyle>
            <a:lvl1pPr marL="0">
              <a:spcBef>
                <a:spcPts val="0"/>
              </a:spcBef>
              <a:buFontTx/>
              <a:buNone/>
              <a:defRPr sz="1800" b="0">
                <a:solidFill>
                  <a:schemeClr val="accent2"/>
                </a:solidFill>
                <a:latin typeface="+mj-lt"/>
              </a:defRPr>
            </a:lvl1pPr>
            <a:lvl2pPr marL="0">
              <a:spcBef>
                <a:spcPts val="0"/>
              </a:spcBef>
              <a:buFontTx/>
              <a:buNone/>
              <a:defRPr sz="3200" b="0">
                <a:solidFill>
                  <a:schemeClr val="accent2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3200" b="0">
                <a:solidFill>
                  <a:schemeClr val="accent2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3200" b="0">
                <a:solidFill>
                  <a:schemeClr val="accent2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3200" b="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Action title in The Group Head Light 18pt, Vivid Green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41E7460-C7D3-03A9-6131-23A8F994D67D}"/>
              </a:ext>
            </a:extLst>
          </p:cNvPr>
          <p:cNvSpPr>
            <a:spLocks noGrp="1"/>
          </p:cNvSpPr>
          <p:nvPr>
            <p:ph sz="quarter" idx="15"/>
          </p:nvPr>
        </p:nvSpPr>
        <p:spPr bwMode="auto">
          <a:xfrm>
            <a:off x="407988" y="1844675"/>
            <a:ext cx="11376020" cy="460851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N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B6670DB8-E887-E7EE-2BAB-1480C153CA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auto"/>
        <p:txBody>
          <a:bodyPr anchor="t"/>
          <a:lstStyle/>
          <a:p>
            <a:r>
              <a:rPr lang="en-US"/>
              <a:t>Headline in The Group Head Light 28pt, Deep Space Blu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730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6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: 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8" name="Object 67" hidden="1">
            <a:extLst>
              <a:ext uri="{FF2B5EF4-FFF2-40B4-BE49-F238E27FC236}">
                <a16:creationId xmlns:a16="http://schemas.microsoft.com/office/drawing/2014/main" id="{81D8470D-1810-4DAC-89A3-77E410BB6D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40513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2" progId="TCLayout.ActiveDocument.1">
                  <p:embed/>
                </p:oleObj>
              </mc:Choice>
              <mc:Fallback>
                <p:oleObj name="think-cell Slide" r:id="rId3" imgW="501" imgH="502" progId="TCLayout.ActiveDocument.1">
                  <p:embed/>
                  <p:pic>
                    <p:nvPicPr>
                      <p:cNvPr id="68" name="Object 67" hidden="1">
                        <a:extLst>
                          <a:ext uri="{FF2B5EF4-FFF2-40B4-BE49-F238E27FC236}">
                            <a16:creationId xmlns:a16="http://schemas.microsoft.com/office/drawing/2014/main" id="{81D8470D-1810-4DAC-89A3-77E410BB6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el 1">
            <a:extLst>
              <a:ext uri="{FF2B5EF4-FFF2-40B4-BE49-F238E27FC236}">
                <a16:creationId xmlns:a16="http://schemas.microsoft.com/office/drawing/2014/main" id="{73778DC6-8C42-41B3-9A13-BD81855603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2088" y="758825"/>
            <a:ext cx="11807825" cy="417195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Mastertitelformat bearbeiten</a:t>
            </a:r>
          </a:p>
        </p:txBody>
      </p:sp>
      <p:sp>
        <p:nvSpPr>
          <p:cNvPr id="8" name="Content Placeholder">
            <a:extLst>
              <a:ext uri="{FF2B5EF4-FFF2-40B4-BE49-F238E27FC236}">
                <a16:creationId xmlns:a16="http://schemas.microsoft.com/office/drawing/2014/main" id="{FBFBA133-0545-4BC8-BC08-AFEB9FAECD79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92088" y="1898650"/>
            <a:ext cx="11807825" cy="438785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774968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 - dar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8" name="Object 67" hidden="1">
            <a:extLst>
              <a:ext uri="{FF2B5EF4-FFF2-40B4-BE49-F238E27FC236}">
                <a16:creationId xmlns:a16="http://schemas.microsoft.com/office/drawing/2014/main" id="{81D8470D-1810-4DAC-89A3-77E410BB6D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5487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01" imgH="502" progId="TCLayout.ActiveDocument.1">
                  <p:embed/>
                </p:oleObj>
              </mc:Choice>
              <mc:Fallback>
                <p:oleObj name="think-cell Slide" r:id="rId5" imgW="501" imgH="502" progId="TCLayout.ActiveDocument.1">
                  <p:embed/>
                  <p:pic>
                    <p:nvPicPr>
                      <p:cNvPr id="68" name="Object 67" hidden="1">
                        <a:extLst>
                          <a:ext uri="{FF2B5EF4-FFF2-40B4-BE49-F238E27FC236}">
                            <a16:creationId xmlns:a16="http://schemas.microsoft.com/office/drawing/2014/main" id="{81D8470D-1810-4DAC-89A3-77E410BB6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8D08C53-A36F-4EEF-AF80-DE85A43693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18768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01" imgH="502" progId="TCLayout.ActiveDocument.1">
                  <p:embed/>
                </p:oleObj>
              </mc:Choice>
              <mc:Fallback>
                <p:oleObj name="think-cell Slide" r:id="rId7" imgW="501" imgH="50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8D08C53-A36F-4EEF-AF80-DE85A4369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397CA39-96E8-452E-9F3B-75998FC41D4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34326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01" imgH="502" progId="TCLayout.ActiveDocument.1">
                  <p:embed/>
                </p:oleObj>
              </mc:Choice>
              <mc:Fallback>
                <p:oleObj name="think-cell Slide" r:id="rId7" imgW="501" imgH="50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397CA39-96E8-452E-9F3B-75998FC41D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5219E14B-C3C3-44E7-B52A-26CAE2B86641}"/>
              </a:ext>
            </a:extLst>
          </p:cNvPr>
          <p:cNvSpPr txBox="1"/>
          <p:nvPr/>
        </p:nvSpPr>
        <p:spPr>
          <a:xfrm>
            <a:off x="187325" y="6678932"/>
            <a:ext cx="81828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B682392-E1D3-8D48-90E0-688560EAB659}" type="slidenum">
              <a:rPr lang="de-DE" sz="1000">
                <a:solidFill>
                  <a:schemeClr val="bg1"/>
                </a:solidFill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1410DD2-29EB-4453-BAB6-DDDCBFC338A1}"/>
              </a:ext>
            </a:extLst>
          </p:cNvPr>
          <p:cNvSpPr txBox="1"/>
          <p:nvPr/>
        </p:nvSpPr>
        <p:spPr>
          <a:xfrm>
            <a:off x="9715501" y="6680634"/>
            <a:ext cx="228679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00">
                <a:solidFill>
                  <a:schemeClr val="bg1"/>
                </a:solidFill>
              </a:rPr>
              <a:t>accilium</a:t>
            </a:r>
          </a:p>
        </p:txBody>
      </p:sp>
    </p:spTree>
    <p:extLst>
      <p:ext uri="{BB962C8B-B14F-4D97-AF65-F5344CB8AC3E}">
        <p14:creationId xmlns:p14="http://schemas.microsoft.com/office/powerpoint/2010/main" val="20120499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gi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13F5493F-6586-DA83-63AA-F6FE707DC8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172585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01" imgH="500" progId="TCLayout.ActiveDocument.1">
                  <p:embed/>
                </p:oleObj>
              </mc:Choice>
              <mc:Fallback>
                <p:oleObj name="think-cell Slide" r:id="rId10" imgW="501" imgH="50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13F5493F-6586-DA83-63AA-F6FE707DC8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D6AFAA60-BA9F-5F5C-3D71-F6BED08204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568" y="219854"/>
            <a:ext cx="8771386" cy="52076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2AD6743-374D-8C2A-B650-EBF586817D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Fußzeilenplatzhalter 9">
            <a:extLst>
              <a:ext uri="{FF2B5EF4-FFF2-40B4-BE49-F238E27FC236}">
                <a16:creationId xmlns:a16="http://schemas.microsoft.com/office/drawing/2014/main" id="{CE209031-9584-80F9-6736-46B0FF22200B}"/>
              </a:ext>
            </a:extLst>
          </p:cNvPr>
          <p:cNvSpPr txBox="1">
            <a:spLocks/>
          </p:cNvSpPr>
          <p:nvPr/>
        </p:nvSpPr>
        <p:spPr>
          <a:xfrm>
            <a:off x="216568" y="6583291"/>
            <a:ext cx="4940945" cy="18076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defPPr>
              <a:defRPr lang="de-DE"/>
            </a:defPPr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>
                <a:solidFill>
                  <a:srgbClr val="EF0000"/>
                </a:solidFill>
                <a:latin typeface="Arial" panose="020B0604020202020204"/>
              </a:rPr>
              <a:t>IX-2 Stabsstelle Digitalisierung </a:t>
            </a:r>
          </a:p>
        </p:txBody>
      </p:sp>
      <p:sp>
        <p:nvSpPr>
          <p:cNvPr id="4" name="empower - DO NOT DELETE!!!" hidden="1">
            <a:extLst>
              <a:ext uri="{FF2B5EF4-FFF2-40B4-BE49-F238E27FC236}">
                <a16:creationId xmlns:a16="http://schemas.microsoft.com/office/drawing/2014/main" id="{C52D7465-150D-BCF2-1AB6-B5E63961F71D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904C9CED-8613-8060-6161-007EDDFD54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29211" y="6527132"/>
            <a:ext cx="745956" cy="264694"/>
          </a:xfrm>
          <a:prstGeom prst="rect">
            <a:avLst/>
          </a:prstGeom>
        </p:spPr>
        <p:txBody>
          <a:bodyPr/>
          <a:lstStyle>
            <a:lvl1pPr algn="r">
              <a:defRPr sz="11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lnSpc>
                <a:spcPct val="110000"/>
              </a:lnSpc>
              <a:buFont typeface="Arial" panose="020B0604020202020204" pitchFamily="34" charset="0"/>
              <a:buNone/>
            </a:pPr>
            <a:fld id="{627AE0CB-DDA9-4CF5-B026-ABA35A8C4C42}" type="slidenum">
              <a:rPr lang="de-DE"/>
              <a:pPr>
                <a:lnSpc>
                  <a:spcPct val="110000"/>
                </a:lnSpc>
                <a:buFont typeface="Arial" panose="020B0604020202020204" pitchFamily="34" charset="0"/>
                <a:buNone/>
              </a:pPr>
              <a:t>‹Nr.›</a:t>
            </a:fld>
            <a:endParaRPr lang="de-DE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7A6E8F91-1C6A-1A46-43B3-65EE31918F2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19" t="6803" r="8435" b="7876"/>
          <a:stretch/>
        </p:blipFill>
        <p:spPr bwMode="auto">
          <a:xfrm>
            <a:off x="10182794" y="219854"/>
            <a:ext cx="751370" cy="6129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Grafik 9">
            <a:extLst>
              <a:ext uri="{FF2B5EF4-FFF2-40B4-BE49-F238E27FC236}">
                <a16:creationId xmlns:a16="http://schemas.microsoft.com/office/drawing/2014/main" id="{9749C2EE-01A3-BEE9-6536-100D4229C4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121089" y="313626"/>
            <a:ext cx="928571" cy="391469"/>
          </a:xfrm>
          <a:prstGeom prst="rect">
            <a:avLst/>
          </a:prstGeom>
        </p:spPr>
      </p:pic>
      <p:pic>
        <p:nvPicPr>
          <p:cNvPr id="8" name="Picture 2" descr="KfW – Wikipedia">
            <a:extLst>
              <a:ext uri="{FF2B5EF4-FFF2-40B4-BE49-F238E27FC236}">
                <a16:creationId xmlns:a16="http://schemas.microsoft.com/office/drawing/2014/main" id="{3FBF68F9-B7C4-F403-33A1-2E2E27D6C2F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7299" y="405306"/>
            <a:ext cx="681789" cy="2420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562169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2" r:id="rId2"/>
    <p:sldLayoutId id="2147483704" r:id="rId3"/>
    <p:sldLayoutId id="2147483705" r:id="rId4"/>
    <p:sldLayoutId id="2147483706" r:id="rId5"/>
    <p:sldLayoutId id="2147483707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0" lang="de-DE" sz="2800" b="1" i="0" u="none" strike="noStrike" kern="1200" cap="none" spc="0" normalizeH="0" baseline="0" dirty="0">
          <a:ln>
            <a:noFill/>
          </a:ln>
          <a:solidFill>
            <a:srgbClr val="EF0000"/>
          </a:solidFill>
          <a:effectLst/>
          <a:uLnTx/>
          <a:uFillTx/>
          <a:latin typeface="Arial" panose="020B0604020202020204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20.xml"/><Relationship Id="rId18" Type="http://schemas.openxmlformats.org/officeDocument/2006/relationships/tags" Target="../tags/tag25.xml"/><Relationship Id="rId26" Type="http://schemas.openxmlformats.org/officeDocument/2006/relationships/image" Target="../media/image7.svg"/><Relationship Id="rId21" Type="http://schemas.openxmlformats.org/officeDocument/2006/relationships/slideLayout" Target="../slideLayouts/slideLayout5.xml"/><Relationship Id="rId34" Type="http://schemas.openxmlformats.org/officeDocument/2006/relationships/image" Target="../media/image15.svg"/><Relationship Id="rId7" Type="http://schemas.openxmlformats.org/officeDocument/2006/relationships/tags" Target="../tags/tag14.xml"/><Relationship Id="rId12" Type="http://schemas.openxmlformats.org/officeDocument/2006/relationships/tags" Target="../tags/tag19.xml"/><Relationship Id="rId17" Type="http://schemas.openxmlformats.org/officeDocument/2006/relationships/tags" Target="../tags/tag24.xml"/><Relationship Id="rId25" Type="http://schemas.openxmlformats.org/officeDocument/2006/relationships/image" Target="../media/image6.png"/><Relationship Id="rId33" Type="http://schemas.openxmlformats.org/officeDocument/2006/relationships/image" Target="../media/image14.png"/><Relationship Id="rId2" Type="http://schemas.openxmlformats.org/officeDocument/2006/relationships/tags" Target="../tags/tag9.xml"/><Relationship Id="rId16" Type="http://schemas.openxmlformats.org/officeDocument/2006/relationships/tags" Target="../tags/tag23.xml"/><Relationship Id="rId20" Type="http://schemas.openxmlformats.org/officeDocument/2006/relationships/tags" Target="../tags/tag27.xml"/><Relationship Id="rId29" Type="http://schemas.openxmlformats.org/officeDocument/2006/relationships/image" Target="../media/image10.png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24" Type="http://schemas.openxmlformats.org/officeDocument/2006/relationships/image" Target="../media/image1.emf"/><Relationship Id="rId32" Type="http://schemas.openxmlformats.org/officeDocument/2006/relationships/image" Target="../media/image13.svg"/><Relationship Id="rId37" Type="http://schemas.openxmlformats.org/officeDocument/2006/relationships/image" Target="../media/image18.png"/><Relationship Id="rId5" Type="http://schemas.openxmlformats.org/officeDocument/2006/relationships/tags" Target="../tags/tag12.xml"/><Relationship Id="rId15" Type="http://schemas.openxmlformats.org/officeDocument/2006/relationships/tags" Target="../tags/tag22.xml"/><Relationship Id="rId23" Type="http://schemas.openxmlformats.org/officeDocument/2006/relationships/oleObject" Target="../embeddings/oleObject5.bin"/><Relationship Id="rId28" Type="http://schemas.openxmlformats.org/officeDocument/2006/relationships/image" Target="../media/image9.svg"/><Relationship Id="rId36" Type="http://schemas.openxmlformats.org/officeDocument/2006/relationships/image" Target="../media/image17.svg"/><Relationship Id="rId10" Type="http://schemas.openxmlformats.org/officeDocument/2006/relationships/tags" Target="../tags/tag17.xml"/><Relationship Id="rId19" Type="http://schemas.openxmlformats.org/officeDocument/2006/relationships/tags" Target="../tags/tag26.xml"/><Relationship Id="rId31" Type="http://schemas.openxmlformats.org/officeDocument/2006/relationships/image" Target="../media/image12.png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tags" Target="../tags/tag21.xml"/><Relationship Id="rId22" Type="http://schemas.openxmlformats.org/officeDocument/2006/relationships/notesSlide" Target="../notesSlides/notesSlide1.xml"/><Relationship Id="rId27" Type="http://schemas.openxmlformats.org/officeDocument/2006/relationships/image" Target="../media/image8.png"/><Relationship Id="rId30" Type="http://schemas.openxmlformats.org/officeDocument/2006/relationships/image" Target="../media/image11.svg"/><Relationship Id="rId35" Type="http://schemas.openxmlformats.org/officeDocument/2006/relationships/image" Target="../media/image16.png"/><Relationship Id="rId8" Type="http://schemas.openxmlformats.org/officeDocument/2006/relationships/tags" Target="../tags/tag15.xml"/><Relationship Id="rId3" Type="http://schemas.openxmlformats.org/officeDocument/2006/relationships/tags" Target="../tags/tag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7BF7A8-CEED-B411-182D-8B20E3A072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FB952BB-A776-A678-5468-7AF2D54A1C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501" imgH="500" progId="TCLayout.ActiveDocument.1">
                  <p:embed/>
                </p:oleObj>
              </mc:Choice>
              <mc:Fallback>
                <p:oleObj name="think-cell Slide" r:id="rId23" imgW="501" imgH="5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FB952BB-A776-A678-5468-7AF2D54A1C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B92387FF-9892-0F8B-56DF-45875023BFB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325622" y="5701428"/>
            <a:ext cx="8046720" cy="7315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de-DE" sz="1600" noProof="0" dirty="0">
              <a:solidFill>
                <a:srgbClr val="2E2E2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EAE4D00-E7B9-8822-3EE6-34EA794EF96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38605" y="962358"/>
            <a:ext cx="11669127" cy="80424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36000" bIns="0" rtlCol="0" anchor="ctr"/>
          <a:lstStyle/>
          <a:p>
            <a:r>
              <a:rPr lang="de-DE" sz="1400" b="1" noProof="0" dirty="0">
                <a:solidFill>
                  <a:srgbClr val="FF48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2-0057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F662B995-C915-24B5-2081-08B41DB130BB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649160798"/>
              </p:ext>
            </p:extLst>
          </p:nvPr>
        </p:nvGraphicFramePr>
        <p:xfrm>
          <a:off x="6138710" y="972487"/>
          <a:ext cx="5751311" cy="81377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79243">
                  <a:extLst>
                    <a:ext uri="{9D8B030D-6E8A-4147-A177-3AD203B41FA5}">
                      <a16:colId xmlns:a16="http://schemas.microsoft.com/office/drawing/2014/main" val="4184501659"/>
                    </a:ext>
                  </a:extLst>
                </a:gridCol>
                <a:gridCol w="4372068">
                  <a:extLst>
                    <a:ext uri="{9D8B030D-6E8A-4147-A177-3AD203B41FA5}">
                      <a16:colId xmlns:a16="http://schemas.microsoft.com/office/drawing/2014/main" val="3886319511"/>
                    </a:ext>
                  </a:extLst>
                </a:gridCol>
              </a:tblGrid>
              <a:tr h="364453">
                <a:tc>
                  <a:txBody>
                    <a:bodyPr/>
                    <a:lstStyle/>
                    <a:p>
                      <a:pPr algn="l"/>
                      <a:r>
                        <a:rPr lang="de-DE" sz="1200" b="1" noProof="0" dirty="0"/>
                        <a:t>       # Teamgröße</a:t>
                      </a:r>
                      <a:endParaRPr lang="de-DE" sz="1200" b="1" noProof="0" dirty="0">
                        <a:latin typeface="accilium Clear Sans Bold" panose="00000500000000000000" pitchFamily="50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200" b="1" noProof="0" dirty="0"/>
                        <a:t>        Hintergrund</a:t>
                      </a:r>
                      <a:endParaRPr lang="de-DE" sz="1200" b="1" noProof="0" dirty="0">
                        <a:latin typeface="accilium Clear Sans Bold" panose="00000500000000000000" pitchFamily="50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83306130"/>
                  </a:ext>
                </a:extLst>
              </a:tr>
              <a:tr h="449325">
                <a:tc>
                  <a:txBody>
                    <a:bodyPr/>
                    <a:lstStyle/>
                    <a:p>
                      <a:r>
                        <a:rPr lang="de-DE" sz="1200" noProof="0" dirty="0"/>
                        <a:t>4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noProof="0" dirty="0"/>
                        <a:t>Menschen aus dem Bereich Open Source und Open Data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59597952"/>
                  </a:ext>
                </a:extLst>
              </a:tr>
            </a:tbl>
          </a:graphicData>
        </a:graphic>
      </p:graphicFrame>
      <p:pic>
        <p:nvPicPr>
          <p:cNvPr id="24" name="Meeting Room">
            <a:extLst>
              <a:ext uri="{FF2B5EF4-FFF2-40B4-BE49-F238E27FC236}">
                <a16:creationId xmlns:a16="http://schemas.microsoft.com/office/drawing/2014/main" id="{B7099F0E-4897-2697-DE8B-6C4104C2A529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6217543" y="1016208"/>
            <a:ext cx="210055" cy="196927"/>
          </a:xfrm>
          <a:prstGeom prst="rect">
            <a:avLst/>
          </a:prstGeom>
        </p:spPr>
      </p:pic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A8049AB9-B2AA-E0AF-B70E-B7B2D0311A60}"/>
              </a:ext>
            </a:extLst>
          </p:cNvPr>
          <p:cNvCxnSpPr>
            <a:cxnSpLocks/>
          </p:cNvCxnSpPr>
          <p:nvPr/>
        </p:nvCxnSpPr>
        <p:spPr>
          <a:xfrm flipV="1">
            <a:off x="241300" y="2085558"/>
            <a:ext cx="11669512" cy="2976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 52">
            <a:extLst>
              <a:ext uri="{FF2B5EF4-FFF2-40B4-BE49-F238E27FC236}">
                <a16:creationId xmlns:a16="http://schemas.microsoft.com/office/drawing/2014/main" id="{7EA416A8-5D26-5592-C521-01E2F7438F79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401598" y="1213135"/>
            <a:ext cx="4669165" cy="2794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b="1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vy – offene Sensordaten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1149F4B-4F12-7E98-422F-0A23B48CE34A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241299" y="2421052"/>
            <a:ext cx="7177464" cy="731520"/>
          </a:xfrm>
          <a:prstGeom prst="rect">
            <a:avLst/>
          </a:prstGeom>
          <a:noFill/>
          <a:ln>
            <a:solidFill>
              <a:srgbClr val="F2F2F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1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ine Vielfallt an vernetzten Sensoren für Umwelt und Verkehr auf eine Zentrale Softwareplattform einspielen zu lassen.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9EE7ECA-D3AC-430B-5F27-156CCAF73FB9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319474" y="2282552"/>
            <a:ext cx="1760097" cy="276999"/>
          </a:xfrm>
          <a:prstGeom prst="rect">
            <a:avLst/>
          </a:prstGeom>
          <a:solidFill>
            <a:schemeClr val="bg1"/>
          </a:solidFill>
        </p:spPr>
        <p:txBody>
          <a:bodyPr wrap="none" lIns="365760" rtlCol="0">
            <a:spAutoFit/>
          </a:bodyPr>
          <a:lstStyle/>
          <a:p>
            <a:r>
              <a:rPr lang="de-DE" sz="1200" b="1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rausforderung:</a:t>
            </a:r>
          </a:p>
        </p:txBody>
      </p:sp>
      <p:pic>
        <p:nvPicPr>
          <p:cNvPr id="44" name="Effort">
            <a:extLst>
              <a:ext uri="{FF2B5EF4-FFF2-40B4-BE49-F238E27FC236}">
                <a16:creationId xmlns:a16="http://schemas.microsoft.com/office/drawing/2014/main" id="{5D46E02A-8E41-E0EF-3425-623E3D50507D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328462" y="2294958"/>
            <a:ext cx="256032" cy="256032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90B0375B-6FA7-672B-F885-9323CA8CE15A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241299" y="4459710"/>
            <a:ext cx="7177464" cy="787790"/>
          </a:xfrm>
          <a:prstGeom prst="rect">
            <a:avLst/>
          </a:prstGeom>
          <a:noFill/>
          <a:ln>
            <a:solidFill>
              <a:srgbClr val="F2F2F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100" dirty="0">
                <a:solidFill>
                  <a:srgbClr val="2E2E2E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Das Projekt kann durch offene Schnittstellen in alle erdenklichen Portale oder wissenschaftlichen Datenbanken eingebunden werden. Das wichtige an Daten ist, dass diese Historisch betrachtet werden können und sollen. </a:t>
            </a:r>
            <a:endParaRPr lang="de-DE" sz="1100" noProof="0" dirty="0">
              <a:solidFill>
                <a:srgbClr val="2E2E2E"/>
              </a:solidFill>
              <a:latin typeface="Arial" panose="020B0604020202020204" pitchFamily="34" charset="0"/>
              <a:ea typeface="+mn-lt"/>
              <a:cs typeface="Arial" panose="020B060402020202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23E2449D-AC21-6DFE-74A1-EDA2FC9BEDE8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319473" y="4321210"/>
            <a:ext cx="246449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365760" rtlCol="0">
            <a:spAutoFit/>
          </a:bodyPr>
          <a:lstStyle/>
          <a:p>
            <a:r>
              <a:rPr lang="de-DE" sz="1200" b="1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ukunftspotenzial der Idee:</a:t>
            </a:r>
          </a:p>
        </p:txBody>
      </p:sp>
      <p:pic>
        <p:nvPicPr>
          <p:cNvPr id="45" name="Goal">
            <a:extLst>
              <a:ext uri="{FF2B5EF4-FFF2-40B4-BE49-F238E27FC236}">
                <a16:creationId xmlns:a16="http://schemas.microsoft.com/office/drawing/2014/main" id="{BBEDFBE5-4773-E54B-9BE3-25E2BC93171F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328462" y="4338476"/>
            <a:ext cx="252183" cy="252183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1515B69F-08EA-EFEC-736B-EBEF8E86AEAF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241299" y="3315886"/>
            <a:ext cx="7177464" cy="994577"/>
          </a:xfrm>
          <a:prstGeom prst="rect">
            <a:avLst/>
          </a:prstGeom>
          <a:noFill/>
          <a:ln>
            <a:solidFill>
              <a:srgbClr val="F2F2F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Aft>
                <a:spcPts val="300"/>
              </a:spcAft>
              <a:buFont typeface="accilium Clear Sans Light" panose="00000500000000000000" pitchFamily="50" charset="0"/>
              <a:buChar char="›"/>
              <a:defRPr/>
            </a:pPr>
            <a:r>
              <a:rPr lang="de-DE" sz="1100" noProof="0" dirty="0">
                <a:solidFill>
                  <a:srgbClr val="2E2E2E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Sensoren für unterschiedliche Umweltdaten und Verkehrsdaten (in Hardware)</a:t>
            </a:r>
          </a:p>
          <a:p>
            <a:pPr marL="171450" indent="-171450">
              <a:spcAft>
                <a:spcPts val="300"/>
              </a:spcAft>
              <a:buFont typeface="accilium Clear Sans Light" panose="00000500000000000000" pitchFamily="50" charset="0"/>
              <a:buChar char="›"/>
              <a:defRPr/>
            </a:pPr>
            <a:r>
              <a:rPr lang="de-DE" sz="1100" noProof="0" dirty="0">
                <a:solidFill>
                  <a:srgbClr val="2E2E2E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Plattform, mit offener API, zum sammeln der Daten</a:t>
            </a:r>
          </a:p>
          <a:p>
            <a:pPr marL="171450" indent="-171450">
              <a:spcAft>
                <a:spcPts val="300"/>
              </a:spcAft>
              <a:buFont typeface="accilium Clear Sans Light" panose="00000500000000000000" pitchFamily="50" charset="0"/>
              <a:buChar char="›"/>
              <a:defRPr/>
            </a:pPr>
            <a:r>
              <a:rPr lang="de-DE" sz="1100" noProof="0" dirty="0">
                <a:solidFill>
                  <a:srgbClr val="2E2E2E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eine App mit den unterschiedlichen Darstellungsformen und ermöglichen der Gamification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EC899E9-0F06-005B-94DA-695247A9AD49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340890" y="3177386"/>
            <a:ext cx="2386174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365760" rtlCol="0">
            <a:spAutoFit/>
          </a:bodyPr>
          <a:lstStyle/>
          <a:p>
            <a:r>
              <a:rPr lang="de-DE" sz="1200" b="1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en für einen Prototyp:</a:t>
            </a:r>
          </a:p>
        </p:txBody>
      </p:sp>
      <p:pic>
        <p:nvPicPr>
          <p:cNvPr id="47" name="Services">
            <a:extLst>
              <a:ext uri="{FF2B5EF4-FFF2-40B4-BE49-F238E27FC236}">
                <a16:creationId xmlns:a16="http://schemas.microsoft.com/office/drawing/2014/main" id="{EE38E164-3E1C-A2C4-3AC8-4EBD2188ADAC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377700" y="3187741"/>
            <a:ext cx="256032" cy="256032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EDBDF035-7EB1-38F3-B172-7BDCEECDCFFB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>
          <a:xfrm>
            <a:off x="307512" y="5591518"/>
            <a:ext cx="7035932" cy="556063"/>
          </a:xfrm>
          <a:prstGeom prst="rect">
            <a:avLst/>
          </a:prstGeom>
          <a:solidFill>
            <a:srgbClr val="F0E5E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i="1" noProof="0" dirty="0">
                <a:solidFill>
                  <a:srgbClr val="FF48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Befüllung durch die Mitglieder des Lenkungsausschusses)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F9D9477-7D7E-1D99-CC9F-94695927020A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236747" y="5425001"/>
            <a:ext cx="7177463" cy="791904"/>
          </a:xfrm>
          <a:prstGeom prst="rect">
            <a:avLst/>
          </a:prstGeom>
          <a:noFill/>
          <a:ln>
            <a:solidFill>
              <a:srgbClr val="F2F2F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1200" noProof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493C97B-6921-0BA3-C1B2-EB72BC81AC1D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314923" y="5293418"/>
            <a:ext cx="1069203" cy="276999"/>
          </a:xfrm>
          <a:prstGeom prst="rect">
            <a:avLst/>
          </a:prstGeom>
          <a:solidFill>
            <a:schemeClr val="bg1"/>
          </a:solidFill>
        </p:spPr>
        <p:txBody>
          <a:bodyPr wrap="none" lIns="365760" rtlCol="0">
            <a:spAutoFit/>
          </a:bodyPr>
          <a:lstStyle/>
          <a:p>
            <a:r>
              <a:rPr lang="de-DE" sz="1200" b="1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izen:</a:t>
            </a:r>
          </a:p>
        </p:txBody>
      </p:sp>
      <p:pic>
        <p:nvPicPr>
          <p:cNvPr id="50" name="Square Border" descr="Magnifying glass outline">
            <a:extLst>
              <a:ext uri="{FF2B5EF4-FFF2-40B4-BE49-F238E27FC236}">
                <a16:creationId xmlns:a16="http://schemas.microsoft.com/office/drawing/2014/main" id="{35A44FA0-6C94-1039-6E46-EA3296057DC3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rcRect/>
          <a:stretch/>
        </p:blipFill>
        <p:spPr>
          <a:xfrm>
            <a:off x="323911" y="5303901"/>
            <a:ext cx="256032" cy="256032"/>
          </a:xfrm>
          <a:prstGeom prst="rect">
            <a:avLst/>
          </a:prstGeom>
        </p:spPr>
      </p:pic>
      <p:pic>
        <p:nvPicPr>
          <p:cNvPr id="28" name="Call male" descr="Acquisition outline">
            <a:extLst>
              <a:ext uri="{FF2B5EF4-FFF2-40B4-BE49-F238E27FC236}">
                <a16:creationId xmlns:a16="http://schemas.microsoft.com/office/drawing/2014/main" id="{F1C5378C-73B3-4427-589F-C070D40B6C46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rcRect/>
          <a:stretch/>
        </p:blipFill>
        <p:spPr>
          <a:xfrm>
            <a:off x="7605247" y="999069"/>
            <a:ext cx="257868" cy="257868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61E039C5-993F-1B67-DD24-9ADA1A7704DD}"/>
              </a:ext>
            </a:extLst>
          </p:cNvPr>
          <p:cNvSpPr/>
          <p:nvPr/>
        </p:nvSpPr>
        <p:spPr>
          <a:xfrm>
            <a:off x="4519582" y="0"/>
            <a:ext cx="2993641" cy="62984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i="1" noProof="0" dirty="0"/>
              <a:t>[Anleitung zur Befüllung]</a:t>
            </a:r>
          </a:p>
        </p:txBody>
      </p:sp>
      <p:pic>
        <p:nvPicPr>
          <p:cNvPr id="1026" name="Picture 2" descr="Grafik von einem Dorf im Hintergrund ist ein Balkendiagramm abgebildet, am Himmel sind verschiedene Symbole für Opendata abgebildet zum Beispiel W-Lan-Symbo, Standort-Symbol, Dokumenten-Symbol und Laptop-Symbol">
            <a:extLst>
              <a:ext uri="{FF2B5EF4-FFF2-40B4-BE49-F238E27FC236}">
                <a16:creationId xmlns:a16="http://schemas.microsoft.com/office/drawing/2014/main" id="{F0281571-A815-66D9-7DB5-52CC3F95A5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7620" y="2387827"/>
            <a:ext cx="4260112" cy="2396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28088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LENGTH" val="24576"/>
  <p:tag name="EMPOWERCHARTSPROPERTIES_SLOT" val="A"/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gBAQEBAQEBAQEBAQEBAQMAAAAAAAAAAwAAAAMAAAAA/////wUA5gsAAAAAAAAAAAAAIAD///////////////8AAAD///////////////8DAAAAAg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z4SUQONMj1JrNzr5Vkz/XwEAAAAAAADAAAAAAADAAAAAwADAAQA////////BQAAAAMAEAALypTTXbipOUGjvZStLojD5AQAAAABAAMAAAACAAMAAAAEAAMAAAAAAAMAAAAEAAMAAAAAAP///////wMAAAAAAP///////wQAAgD///////8FAAAABAAQAAuw9A2Wb2xVSLp8kUdPirbjBAAAAAIAAwAAAAMAAwAAAAEAAw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AMOAAAAAAAAAAAAAP/////GAMYAAAAFX2lkABAAAAAEPhJRA40yPUms3OvlWTP9fANEYXRhAFMAAAAIUHJlc2VudGF0aW9uU2Nhbm5lZEZvckxpbmtlZFNoYXBlcwABAk51bWJlckZvcm1hdFNlcGFyYXRvck1vZGUACgAAAEF1dG9tYXRpYwAAAk5hbWUAJAAAAExpbmtlZFNoYXBlUHJlc2VudGF0aW9uU2V0dGluZ3NEYXRhABBWZXJzaW9uAAAAAAAJTGFzdFdyaXRlAJ4n9gh9AQAAAAEA/////4MAgwAAAAVfaWQAEAAAAATKlNNduKk5QaO9lK0uiMPkA0RhdGEAGwAAAARMaW5rZWRTaGFwZURhdGEABQAAAAAAAk5hbWUAGQAAAExpbmtlZFNoYXBlc0RhdGFQcm9wZXJ0eQAQVmVyc2lvbgABAAAACUxhc3RXcml0ZQAxcqiPiAEAAAACAP////+DAIMAAAAFX2lkABAAAAAEsPQNlm9sVUi6fJFHT4q24wNEYXRhABsAAAAETGlua2VkU2hhcGVEYXRhAAUAAAAAAAJOYW1lABkAAABMaW5rZWRTaGFwZXNEYXRhUHJvcGVydHkAEFZlcnNpb24AAAAAAAlMYXN0V3JpdGUAOSf2CH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CNCwAAAAAAAAAAAAAgAf///////////////wAAAP///////////////wUAAAACAP///////wUAAAACAP///////wUAAAAEAP///////wUAAAAEAP///////wUAAAAEAP///////wUAAAAE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JQAGTGlua2VkU2hhcGVQcmVzZW50YXRpb25TZXR0aW5nc0RhdGFfMAQAAAAAAAUAAAAAAAUAAAAEAAUAAAAAAAUAAAAEAAMAAQEDAAAAAwD///////8aAAZMaW5rZWRTaGFwZXNEYXRhUHJvcGVydHlfMQQAAAABAAUAAAAEAAUAAAABAAQACAEDAAAABAD///////8aAAZMaW5rZWRTaGFwZXNEYXRhUHJvcGVydHlfMAQAAAACAAUAAAACAAUAAAADAAUAAAACAP///////wUAAAAAAP///////wUAAAAAAP///////wUAAAAAAP///////wUAAAAAAP///////wUAAAAAAP///////wU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LASTWRITEDATE" val="638216341615561339"/>
  <p:tag name="THINKCELLUNDODONOTDELETE" val="0"/>
  <p:tag name="MIO_PRESENTATION_LANGUAGE" val="1031"/>
  <p:tag name="COAUTHORING_SESSION_ID" val="e93a5937-06f8-4696-9cbb-0fb089820504"/>
  <p:tag name="UNDO_REDO_REVISION" val="266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/gsAAAAAAAAAAAAAIAD///////////////8AAAD///////////////8DAAAAAg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0S9cDzfCDBOllaO+JXTONEEAAAAAAADAAAAAAADAAAAAwADAAMA////////BQAAAAMAEAALXVSOPeoAFEekMYUNKtR+LgQAAAABAAMAAAACAAMAAAAEAAMAAAAAAP///////wMAAAAAAP///////wQAAQD///////8FAAAABAAQAAuV5lDexSgcSLo5k90440mL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RL1wPN8IME6WVo74ldM40QREYXRhAAUAAAAAAk5hbWUADQAAAExpbmtEYXRhTGlzdAAQVmVyc2lvbgAAAAAACUxhc3RXcml0ZQASNUjBkAEAAAABAP////9hAGEAAAAFX2lkABAAAAAEXVSOPeoAFEekMYUNKtR+LgREYXRhAAUAAAAAAk5hbWUADQAAAExpbmtEYXRhTGlzdAAQVmVyc2lvbgABAAAACUxhc3RXcml0ZQATNUjBkAEAAAACAP////9wAHAAAAAFX2lkABAAAAAEleZQ3sUoHEi6OZPdOONJiwNEYXRhABYAAAACUGVyc29uYWxJZAABAAAAAAACTmFtZQALAAAAUGVyc29uYWxJZAAQVmVyc2lvbgAAAAAACUxhc3RXcml0ZQBKNUjBk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C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MBAwAAAAMA////////DgAGTGlua0RhdGFMaXN0XzEEAAAAAQAFAAAAAgAFAAAABAAFAAAAAAD///////8FAAAAAAD///////8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68264533889127"/>
  <p:tag name="EMPOWERCHARTSPROPERTIES_B_LENGTH" val="24576"/>
  <p:tag name="DOWN_MIGRATION_INITIAL_LAYOUT_REQUIRED" val="9.2.99"/>
  <p:tag name="RUNTIME_ID" val="f76f76c6-e9c7-4d23-97b9-beefa7939486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MAAAAAAAAAAwAAAAMAAAAA/////wUA5gsAAAAAAAAAAAAAIAD///////////////8AAAD///////////////8DAAAABAD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3YuAd0BjHRBluvfw/TM6iAEAAAAAAADAAAABAADAAAAAwADAAAABAD///////8DAAEA////////BQAAAAMAEAALz260+EL6r0OVkruZ39On1wQAAAABAAMAAAACAAMAAAABAAQABAD///////8FAAAABAAQAAtquxmEDMNgTa8h2SWTJHQsBAAAAAIAAwAAAAAAAwAAAAIAAwAAAAAAAwAAAAIA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di4B3QGMdEGW69/D9MzqIAREYXRhAAUAAAAAAk5hbWUADQAAAExpbmtEYXRhTGlzdAAQVmVyc2lvbgAAAAAACUxhc3RXcml0ZQCqTI3kkAEAAAABAP////9hAGEAAAAFX2lkABAAAAAEz260+EL6r0OVkruZ39On1wREYXRhAAUAAAAAAk5hbWUADQAAAExpbmtEYXRhTGlzdAAQVmVyc2lvbgABAAAACUxhc3RXcml0ZQCqTI3kkAEAAAACAP////9wAHAAAAAFX2lkABAAAAAEarsZhAzDYE2vIdklkyR0LANEYXRhABYAAAACUGVyc29uYWxJZAABAAAAAAACTmFtZQALAAAAUGVyc29uYWxJZAAQVmVyc2lvbgAAAAAACUxhc3RXcml0ZQDKTI3kk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D///////8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74181839065062"/>
  <p:tag name="EMPOWERCHARTSPROPERTIES_B_LENGTH" val="24576"/>
  <p:tag name="DOWN_MIGRATION_INITIAL_LAYOUT_REQUIRED" val="9.2.99"/>
  <p:tag name="RUNTIME_ID" val="e1f2d28c-a53f-442f-811a-0130a74a24fc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CAC5F922-E8F0-489E-AE29-8FA4DDC095C1\ini07lxqSksnt8njrDL3aNBso3A68119"/>
  <p:tag name="MIO_GUID" val="f7b80dc5-0e00-4f93-8dad-adc1f70536b5"/>
  <p:tag name="MIO_UPDATE" val="True"/>
  <p:tag name="MIO_VERSION" val="01.01.0001 00:00:00"/>
  <p:tag name="MIO_DBID" val="0F45B44C-9BC7-4D85-81C4-7155EE70A7B9"/>
  <p:tag name="MIO_LASTDOWNLOADED" val="24.07.2024 09:12:54.848"/>
  <p:tag name="MIO_OBJECTNAME" val="Meeting Room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cBAQEBAQEBAQEBAQEBAQMAAAAAAAAAAwAAAAMAAAAA/////wUAzgsAAAAAAAAAAAAAIAD///////////////8AAAD///////////////8DAAAAAgD///////8DAAAAAwD///////8DAAAAAwD///////8DAAAAAw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/c451nuV19Km1zQZJ+0BasEAAAAAAADAAAAAAADAAAAAwADAAcA////////BQAAAAMAEAALcuQCZD1dPUymkXqHWJkBtwQAAAABAAMAAAACAAMAAAAEAAMAAAAAAP///////wMAAAAAAP///////wMAAAAAAP///////wMAAAAAAP///////wMAAAAAAP///////wMAAAAAAP///////wQAAQD///////8FAAAABAAQAAurwROydhK8QKn7IxuI/c69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9zjnWe5XX0qbXNBkn7QFqwREYXRhAAUAAAAAAk5hbWUADQAAAExpbmtEYXRhTGlzdAAQVmVyc2lvbgABAAAACUxhc3RXcml0ZQC1r/y8kgEAAAABAP////9hAGEAAAAFX2lkABAAAAAEcuQCZD1dPUymkXqHWJkBtwREYXRhAAUAAAAAAk5hbWUADQAAAExpbmtEYXRhTGlzdAAQVmVyc2lvbgAAAAAACUxhc3RXcml0ZQCzr/y8kgEAAAACAP////9wAHAAAAAFX2lkABAAAAAEq8ETsnYSvECp+yMbiP3OvQNEYXRhABYAAAACUGVyc29uYWxJZAABAAAAAAACTmFtZQALAAAAUGVyc29uYWxJZAAQVmVyc2lvbgAAAAAACUxhc3RXcml0ZQCCsPy8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WCwAAAAAAAAAAAAAgAf///////////////wAAAP///////////////wUAAAADAP///////wUAAAADAP///////wUAAAADAP///////wUAAAADAP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cBAwAAAAMA////////DgAGTGlua0RhdGFMaXN0XzAEAAAAAQAFAAAAAAAFAAAAAgAFAAAAAAD///////8FAAAAAAD///////8FAAAAAAD///////8FAAAAAAD///////8FAAAAAAD///////8FAAAAAAD///////8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53443299454875"/>
  <p:tag name="EMPOWERCHARTSPROPERTIES_B_LENGTH" val="24576"/>
  <p:tag name="DOWN_MIGRATION_INITIAL_LAYOUT_REQUIRED" val="9.2.99"/>
  <p:tag name="RUNTIME_ID" val="2fdd78c9-98db-4dd1-9b19-0e780ce8118b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/////wUACgwAAAAAAAAAAAAAIAD///////////////8AAAD///////////////8DAAAAAg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zLpGwap/PlPr0TIjePhbzkEAAAAAAADAAAAAAADAAAAAwADAAEA////////BQAAAAMAEAALJ3B3DaIGX0K9mMko9hsuUwQAAAABAAMAAAACAAMAAAAEAAQAAgD///////8FAAAABAAQAAtctYXag5enQJ+3F59vdB6CBAAAAAIAAwAAAAMAAwAAAAEA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MukbBqn8+U+vRMiN4+FvOQREYXRhAAUAAAAAAk5hbWUADQAAAExpbmtEYXRhTGlzdAAQVmVyc2lvbgAAAAAACUxhc3RXcml0ZQCYBla9kgEAAAABAP////9hAGEAAAAFX2lkABAAAAAEJ3B3DaIGX0K9mMko9hsuUwREYXRhAAUAAAAAAk5hbWUADQAAAExpbmtEYXRhTGlzdAAQVmVyc2lvbgABAAAACUxhc3RXcml0ZQCZBla9kgEAAAACAP////9wAHAAAAAFX2lkABAAAAAEXLWF2oOXp0Cftxefb3QeggNEYXRhABYAAAACUGVyc29uYWxJZAABAAAAAAACTmFtZQALAAAAUGVyc29uYWxJZAAQVmVyc2lvbgAAAAAACUxhc3RXcml0ZQDHBla9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eDAAAAAAAAAAAAAAgAf///////////////wAAAP////////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53501846868216"/>
  <p:tag name="EMPOWERCHARTSPROPERTIES_B_LENGTH" val="24576"/>
  <p:tag name="DOWN_MIGRATION_INITIAL_LAYOUT_REQUIRED" val="9.2.99"/>
  <p:tag name="RUNTIME_ID" val="a6e5bdaf-3b64-4f87-9dcd-a9c2dacfd6a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/////wUA2gsAAAAAAAAAAAAAIAD///////////////8AAAD///////////////8DAAAAAgD///////8DAAAAAgD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8Ix9D8BMblPmtzMxs+OQwEEAAAAAAADAAAAAAADAAAAAwADAAAAAAADAAAABAADAAEA////////BQAAAAMAEAALRmJisJc9QkKJx1sbtGERPwQAAAABAAMAAAACAAMAAAAEAAQABQD///////8FAAAABAAQAAt/IHOx0z9RQKt/fx/wouw+BAAAAAIAAwAAAAMAAwAAAAEAAwAAAAIA////////AwAAAAAA////////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wjH0PwExuU+a3MzGz45DAQREYXRhAAUAAAAAAk5hbWUADQAAAExpbmtEYXRhTGlzdAAQVmVyc2lvbgAAAAAACUxhc3RXcml0ZQAWBla9kgEAAAABAP////9hAGEAAAAFX2lkABAAAAAERmJisJc9QkKJx1sbtGERPwREYXRhAAUAAAAAAk5hbWUADQAAAExpbmtEYXRhTGlzdAAQVmVyc2lvbgABAAAACUxhc3RXcml0ZQAXBla9kgEAAAACAP////9wAHAAAAAFX2lkABAAAAAEfyBzsdM/UUCrf38f8KLsPgNEYXRhABYAAAACUGVyc29uYWxJZAABAAAAAAACTmFtZQALAAAAUGVyc29uYWxJZAAQVmVyc2lvbgAAAAAACUxhc3RXcml0ZQBWBla9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AFAAAABAADAAEBAwAAAAMA////////DgAGTGlua0RhdGFMaXN0XzEEAAAAAQAFAAAAAgAFAAAABAAEAAIBAwAAAAQA////////DAAGUGVyc29uYWxJZF8wBAAAAAIABQAAAAMABQAAAAEA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53501845667313"/>
  <p:tag name="EMPOWERCHARTSPROPERTIES_B_LENGTH" val="24576"/>
  <p:tag name="DOWN_MIGRATION_INITIAL_LAYOUT_REQUIRED" val="9.2.99"/>
  <p:tag name="RUNTIME_ID" val="d2c36307-852f-4cf0-bc8a-43fa61af196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CAC5F922-E8F0-489E-AE29-8FA4DDC095C1\5e843849-c98f-469e-876c-f583a6572b462551320230807090012"/>
  <p:tag name="MIO_GUID" val="48130c04-72e9-4316-b4fd-bc777a6926ba"/>
  <p:tag name="MIO_UPDATE" val="True"/>
  <p:tag name="MIO_VERSION" val="01.01.0001 00:00:00"/>
  <p:tag name="MIO_DBID" val="0F45B44C-9BC7-4D85-81C4-7155EE70A7B9"/>
  <p:tag name="MIO_LASTDOWNLOADED" val="07.08.2023 11:00:29.641"/>
  <p:tag name="MIO_OBJECTNAME" val="Effort"/>
  <p:tag name="MIO_LASTEDITORNAME" val="https://search.icons8.com/api/ 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/////wUACgwAAAAAAAAAAAAAIAD///////////////8AAAD///////////////8DAAAAAg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zLpGwap/PlPr0TIjePhbzkEAAAAAAADAAAAAAADAAAAAwADAAEA////////BQAAAAMAEAALJ3B3DaIGX0K9mMko9hsuUwQAAAABAAMAAAACAAMAAAAEAAQAAgD///////8FAAAABAAQAAtctYXag5enQJ+3F59vdB6CBAAAAAIAAwAAAAMAAwAAAAEA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MukbBqn8+U+vRMiN4+FvOQREYXRhAAUAAAAAAk5hbWUADQAAAExpbmtEYXRhTGlzdAAQVmVyc2lvbgAAAAAACUxhc3RXcml0ZQCYBla9kgEAAAABAP////9hAGEAAAAFX2lkABAAAAAEJ3B3DaIGX0K9mMko9hsuUwREYXRhAAUAAAAAAk5hbWUADQAAAExpbmtEYXRhTGlzdAAQVmVyc2lvbgABAAAACUxhc3RXcml0ZQCZBla9kgEAAAACAP////9wAHAAAAAFX2lkABAAAAAEXLWF2oOXp0Cftxefb3QeggNEYXRhABYAAAACUGVyc29uYWxJZAABAAAAAAACTmFtZQALAAAAUGVyc29uYWxJZAAQVmVyc2lvbgAAAAAACUxhc3RXcml0ZQDHBla9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eDAAAAAAAAAAAAAAgAf///////////////wAAAP////////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53501846868216"/>
  <p:tag name="EMPOWERCHARTSPROPERTIES_B_LENGTH" val="24576"/>
  <p:tag name="DOWN_MIGRATION_INITIAL_LAYOUT_REQUIRED" val="9.2.99"/>
  <p:tag name="RUNTIME_ID" val="79b2f732-9ea2-4256-97c2-fc054b9d712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/////wUA2gsAAAAAAAAAAAAAIAD///////////////8AAAD///////////////8DAAAAAgD///////8DAAAAAgD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8Ix9D8BMblPmtzMxs+OQwEEAAAAAAADAAAAAAADAAAAAwADAAAAAAADAAAABAADAAEA////////BQAAAAMAEAALRmJisJc9QkKJx1sbtGERPwQAAAABAAMAAAACAAMAAAAEAAQABQD///////8FAAAABAAQAAt/IHOx0z9RQKt/fx/wouw+BAAAAAIAAwAAAAMAAwAAAAEAAwAAAAIA////////AwAAAAAA////////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wjH0PwExuU+a3MzGz45DAQREYXRhAAUAAAAAAk5hbWUADQAAAExpbmtEYXRhTGlzdAAQVmVyc2lvbgAAAAAACUxhc3RXcml0ZQAWBla9kgEAAAABAP////9hAGEAAAAFX2lkABAAAAAERmJisJc9QkKJx1sbtGERPwREYXRhAAUAAAAAAk5hbWUADQAAAExpbmtEYXRhTGlzdAAQVmVyc2lvbgABAAAACUxhc3RXcml0ZQAXBla9kgEAAAACAP////9wAHAAAAAFX2lkABAAAAAEfyBzsdM/UUCrf38f8KLsPgNEYXRhABYAAAACUGVyc29uYWxJZAABAAAAAAACTmFtZQALAAAAUGVyc29uYWxJZAAQVmVyc2lvbgAAAAAACUxhc3RXcml0ZQBWBla9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AFAAAABAADAAEBAwAAAAMA////////DgAGTGlua0RhdGFMaXN0XzEEAAAAAQAFAAAAAgAFAAAABAAEAAIBAwAAAAQA////////DAAGUGVyc29uYWxJZF8wBAAAAAIABQAAAAMABQAAAAEA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53501845667313"/>
  <p:tag name="EMPOWERCHARTSPROPERTIES_B_LENGTH" val="24576"/>
  <p:tag name="DOWN_MIGRATION_INITIAL_LAYOUT_REQUIRED" val="9.2.99"/>
  <p:tag name="RUNTIME_ID" val="62516342-9d37-4239-a5b3-121858fd045b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CAC5F922-E8F0-489E-AE29-8FA4DDC095C1\5e843849-c98f-469e-876c-f583a6572b462088420230807090034"/>
  <p:tag name="MIO_GUID" val="571b8d5d-91b3-4ac5-a86c-535ef10b63d7"/>
  <p:tag name="MIO_UPDATE" val="True"/>
  <p:tag name="MIO_VERSION" val="01.01.0001 00:00:00"/>
  <p:tag name="MIO_DBID" val="0F45B44C-9BC7-4D85-81C4-7155EE70A7B9"/>
  <p:tag name="MIO_LASTDOWNLOADED" val="07.08.2023 11:00:45.526"/>
  <p:tag name="MIO_OBJECTNAME" val="Goal"/>
  <p:tag name="MIO_LASTEDITORNAME" val="https://search.icons8.com/api/ 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/////wUACgwAAAAAAAAAAAAAIAD///////////////8AAAD///////////////8DAAAAAg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zLpGwap/PlPr0TIjePhbzkEAAAAAAADAAAAAAADAAAAAwADAAEA////////BQAAAAMAEAALJ3B3DaIGX0K9mMko9hsuUwQAAAABAAMAAAACAAMAAAAEAAQAAgD///////8FAAAABAAQAAtctYXag5enQJ+3F59vdB6CBAAAAAIAAwAAAAMAAwAAAAEA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MukbBqn8+U+vRMiN4+FvOQREYXRhAAUAAAAAAk5hbWUADQAAAExpbmtEYXRhTGlzdAAQVmVyc2lvbgAAAAAACUxhc3RXcml0ZQCYBla9kgEAAAABAP////9hAGEAAAAFX2lkABAAAAAEJ3B3DaIGX0K9mMko9hsuUwREYXRhAAUAAAAAAk5hbWUADQAAAExpbmtEYXRhTGlzdAAQVmVyc2lvbgABAAAACUxhc3RXcml0ZQCZBla9kgEAAAACAP////9wAHAAAAAFX2lkABAAAAAEXLWF2oOXp0Cftxefb3QeggNEYXRhABYAAAACUGVyc29uYWxJZAABAAAAAAACTmFtZQALAAAAUGVyc29uYWxJZAAQVmVyc2lvbgAAAAAACUxhc3RXcml0ZQDHBla9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eDAAAAAAAAAAAAAAgAf///////////////wAAAP////////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53501846868216"/>
  <p:tag name="EMPOWERCHARTSPROPERTIES_B_LENGTH" val="24576"/>
  <p:tag name="DOWN_MIGRATION_INITIAL_LAYOUT_REQUIRED" val="9.2.99"/>
  <p:tag name="RUNTIME_ID" val="a9e168d1-e726-4bd7-a066-eda93a2f3d8c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/////wUA2gsAAAAAAAAAAAAAIAD///////////////8AAAD///////////////8DAAAAAgD///////8DAAAAAgD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8Ix9D8BMblPmtzMxs+OQwEEAAAAAAADAAAAAAADAAAAAwADAAAAAAADAAAABAADAAEA////////BQAAAAMAEAALRmJisJc9QkKJx1sbtGERPwQAAAABAAMAAAACAAMAAAAEAAQABQD///////8FAAAABAAQAAt/IHOx0z9RQKt/fx/wouw+BAAAAAIAAwAAAAMAAwAAAAEAAwAAAAIA////////AwAAAAAA////////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wjH0PwExuU+a3MzGz45DAQREYXRhAAUAAAAAAk5hbWUADQAAAExpbmtEYXRhTGlzdAAQVmVyc2lvbgAAAAAACUxhc3RXcml0ZQAWBla9kgEAAAABAP////9hAGEAAAAFX2lkABAAAAAERmJisJc9QkKJx1sbtGERPwREYXRhAAUAAAAAAk5hbWUADQAAAExpbmtEYXRhTGlzdAAQVmVyc2lvbgABAAAACUxhc3RXcml0ZQAXBla9kgEAAAACAP////9wAHAAAAAFX2lkABAAAAAEfyBzsdM/UUCrf38f8KLsPgNEYXRhABYAAAACUGVyc29uYWxJZAABAAAAAAACTmFtZQALAAAAUGVyc29uYWxJZAAQVmVyc2lvbgAAAAAACUxhc3RXcml0ZQBWBla9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AFAAAABAADAAEBAwAAAAMA////////DgAGTGlua0RhdGFMaXN0XzEEAAAAAQAFAAAAAgAFAAAABAAEAAIBAwAAAAQA////////DAAGUGVyc29uYWxJZF8wBAAAAAIABQAAAAMABQAAAAEA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53501845667313"/>
  <p:tag name="EMPOWERCHARTSPROPERTIES_B_LENGTH" val="24576"/>
  <p:tag name="DOWN_MIGRATION_INITIAL_LAYOUT_REQUIRED" val="9.2.99"/>
  <p:tag name="RUNTIME_ID" val="fea18502-2646-4d10-99e9-3a6c3a031e4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CAC5F922-E8F0-489E-AE29-8FA4DDC095C1\ini07lxqSksnt8njrDL3aNBso3A11678"/>
  <p:tag name="MIO_GUID" val="f4151892-66ba-4c80-91ff-045195c9decf"/>
  <p:tag name="MIO_UPDATE" val="True"/>
  <p:tag name="MIO_VERSION" val="01.01.0001 00:00:00"/>
  <p:tag name="MIO_DBID" val="0F45B44C-9BC7-4D85-81C4-7155EE70A7B9"/>
  <p:tag name="MIO_LASTDOWNLOADED" val="24.10.2024 09:14:36.535"/>
  <p:tag name="MIO_OBJECTNAME" val="Services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/////wUAzgsAAAAAAAAAAAAAIAD///////////////8AAAD///////////////8DAAAABAD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xZWMvCFExVGnSYfTXPOwCgEAAAAAAADAAAABAADAAAAAwADAAQA////////BQAAAAMAEAALtg87+uqnA0qMtd5aqTTumAQAAAABAAMAAAACAAMAAAABAAMAAAAEAP///////wMAAAAEAP///////wMAAAAEAP///////wQABAD///////8FAAAABAAQAAtAAoORxxi/TKnRJcYovDeRBAAAAAIAAwAAAAAAAwAAAAIAAwAAAAAAAwAAAAM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FlYy8IUTFUadJh9Nc87AKAREYXRhAAUAAAAAAk5hbWUADQAAAExpbmtEYXRhTGlzdAAQVmVyc2lvbgAAAAAACUxhc3RXcml0ZQA2S8u/kAEAAAABAP////9hAGEAAAAFX2lkABAAAAAEtg87+uqnA0qMtd5aqTTumAREYXRhAAUAAAAAAk5hbWUADQAAAExpbmtEYXRhTGlzdAAQVmVyc2lvbgABAAAACUxhc3RXcml0ZQCDS8u/kAEAAAACAP////9wAHAAAAAFX2lkABAAAAAEQAKDkccYv0yp0SXGKLw3kQNEYXRhABYAAAACUGVyc29uYWxJZAABAAAAAAACTmFtZQALAAAAUGVyc29uYWxJZAAQVmVyc2lvbgAAAAAACUxhc3RXcml0ZQAjTMu/k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CAP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QBAwAAAAMA////////DgAGTGlua0RhdGFMaXN0XzEEAAAAAQAFAAAAAgAFAAAABAAFAAAAAAD///////8FAAAAAAD///////8FAAAAAAD///////8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68014900038803"/>
  <p:tag name="EMPOWERCHARTSPROPERTIES_B_LENGTH" val="24576"/>
  <p:tag name="DOWN_MIGRATION_INITIAL_LAYOUT_REQUIRED" val="9.2.99"/>
  <p:tag name="RUNTIME_ID" val="01e93cc1-4f07-4618-b96e-86fac8a862d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/////wUACgwAAAAAAAAAAAAAIAD///////////////8AAAD///////////////8DAAAAAg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zLpGwap/PlPr0TIjePhbzkEAAAAAAADAAAAAAADAAAAAwADAAEA////////BQAAAAMAEAALJ3B3DaIGX0K9mMko9hsuUwQAAAABAAMAAAACAAMAAAAEAAQAAgD///////8FAAAABAAQAAtctYXag5enQJ+3F59vdB6CBAAAAAIAAwAAAAMAAwAAAAEA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MukbBqn8+U+vRMiN4+FvOQREYXRhAAUAAAAAAk5hbWUADQAAAExpbmtEYXRhTGlzdAAQVmVyc2lvbgAAAAAACUxhc3RXcml0ZQCYBla9kgEAAAABAP////9hAGEAAAAFX2lkABAAAAAEJ3B3DaIGX0K9mMko9hsuUwREYXRhAAUAAAAAAk5hbWUADQAAAExpbmtEYXRhTGlzdAAQVmVyc2lvbgABAAAACUxhc3RXcml0ZQCZBla9kgEAAAACAP////9wAHAAAAAFX2lkABAAAAAEXLWF2oOXp0Cftxefb3QeggNEYXRhABYAAAACUGVyc29uYWxJZAABAAAAAAACTmFtZQALAAAAUGVyc29uYWxJZAAQVmVyc2lvbgAAAAAACUxhc3RXcml0ZQDHBla9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eDAAAAAAAAAAAAAAgAf///////////////wAAAP////////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53501846868216"/>
  <p:tag name="EMPOWERCHARTSPROPERTIES_B_LENGTH" val="24576"/>
  <p:tag name="DOWN_MIGRATION_INITIAL_LAYOUT_REQUIRED" val="9.2.99"/>
  <p:tag name="RUNTIME_ID" val="c5f58343-1c74-4461-aea9-835d64c316f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/////wUA2gsAAAAAAAAAAAAAIAD///////////////8AAAD///////////////8DAAAAAgD///////8DAAAAAgD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8Ix9D8BMblPmtzMxs+OQwEEAAAAAAADAAAAAAADAAAAAwADAAAAAAADAAAABAADAAEA////////BQAAAAMAEAALRmJisJc9QkKJx1sbtGERPwQAAAABAAMAAAACAAMAAAAEAAQABQD///////8FAAAABAAQAAt/IHOx0z9RQKt/fx/wouw+BAAAAAIAAwAAAAMAAwAAAAEAAwAAAAIA////////AwAAAAAA////////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wjH0PwExuU+a3MzGz45DAQREYXRhAAUAAAAAAk5hbWUADQAAAExpbmtEYXRhTGlzdAAQVmVyc2lvbgAAAAAACUxhc3RXcml0ZQAWBla9kgEAAAABAP////9hAGEAAAAFX2lkABAAAAAERmJisJc9QkKJx1sbtGERPwREYXRhAAUAAAAAAk5hbWUADQAAAExpbmtEYXRhTGlzdAAQVmVyc2lvbgABAAAACUxhc3RXcml0ZQAXBla9kgEAAAACAP////9wAHAAAAAFX2lkABAAAAAEfyBzsdM/UUCrf38f8KLsPgNEYXRhABYAAAACUGVyc29uYWxJZAABAAAAAAACTmFtZQALAAAAUGVyc29uYWxJZAAQVmVyc2lvbgAAAAAACUxhc3RXcml0ZQBWBla9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AFAAAABAADAAEBAwAAAAMA////////DgAGTGlua0RhdGFMaXN0XzEEAAAAAQAFAAAAAgAFAAAABAAEAAIBAwAAAAQA////////DAAGUGVyc29uYWxJZF8wBAAAAAIABQAAAAMABQAAAAEA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53501845667313"/>
  <p:tag name="EMPOWERCHARTSPROPERTIES_B_LENGTH" val="24576"/>
  <p:tag name="DOWN_MIGRATION_INITIAL_LAYOUT_REQUIRED" val="9.2.99"/>
  <p:tag name="RUNTIME_ID" val="2537ff7e-708a-4b9e-8bed-0e479dbe4d58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CAC5F922-E8F0-489E-AE29-8FA4DDC095C1\ini07lxqSksnt8njrDL3aNBso3A123950"/>
  <p:tag name="MIO_GUID" val="f469c2b9-7b76-40f7-a956-1413ce99654f"/>
  <p:tag name="MIO_UPDATE" val="True"/>
  <p:tag name="MIO_VERSION" val="01.01.0001 00:00:00"/>
  <p:tag name="MIO_DBID" val="0F45B44C-9BC7-4D85-81C4-7155EE70A7B9"/>
  <p:tag name="MIO_LASTDOWNLOADED" val="24.10.2024 09:15:10.065"/>
  <p:tag name="MIO_OBJECTNAME" val="Square Border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CAC5F922-E8F0-489E-AE29-8FA4DDC095C1\ini07lxqSksnt8njrDL3aNBso3Ao7N3nVNi8Ayy"/>
  <p:tag name="MIO_GUID" val="48cca56b-8493-43f3-b3fd-d27f46cec93c"/>
  <p:tag name="MIO_UPDATE" val="True"/>
  <p:tag name="MIO_VERSION" val="01.01.0001 00:00:00"/>
  <p:tag name="MIO_DBID" val="0F45B44C-9BC7-4D85-81C4-7155EE70A7B9"/>
  <p:tag name="MIO_LASTDOWNLOADED" val="24.07.2024 18:40:03.617"/>
  <p:tag name="MIO_OBJECTNAME" val="Call ma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UPDATE" val="True"/>
  <p:tag name="MIO_FALLBACK_LAYOUT" val="1"/>
  <p:tag name="MIO_SHOW_DATE" val="False"/>
  <p:tag name="MIO_SHOW_FOOTER" val="False"/>
  <p:tag name="MIO_SHOW_PAGENUMBER" val="False"/>
  <p:tag name="MIO_AVOID_BLANK_LAYOUT" val="True"/>
  <p:tag name="MIO_CD_LAYOUT_VALID_AREA" val="False"/>
  <p:tag name="MIO_EMBED_FONT" val="False"/>
  <p:tag name="MIO_MATCH_COLOR_SCHEME" val="False"/>
  <p:tag name="MIO_NUMBER_OF_VALID_LAYOUTS" val="3"/>
  <p:tag name="MIO_EKGUID" val="ce64b9cf-2bb9-41c2-803a-8a49dae640e4"/>
  <p:tag name="MIO_VERSION" val="08.11.2022 11:04:24"/>
  <p:tag name="MIO_DBID" val="0F45B44C-9BC7-4D85-81C4-7155EE70A7B9"/>
  <p:tag name="MIO_OBJECTNAME" val="un:box Cologne Master_Stadt Köln"/>
  <p:tag name="MIO_LASTDOWNLOADED" val="08.11.2022 12:05:07.12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/////wUAFg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/vALiCWbMBAjsbzXSMkFxcEAAAAAAADAAAAAAADAAAAAwADAAEA////////BQAAAAMAEAALncFZRzMuX0ibyD8xqaEapQQAAAABAAMAAAACAAMAAAAEAAQAAQD///////8FAAAABAAQAAvd0qfQ60zKQqvzU+BNXR03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+8AuIJZswECOxvNdIyQXFwREYXRhAAUAAAAAAk5hbWUADQAAAExpbmtEYXRhTGlzdAAQVmVyc2lvbgABAAAACUxhc3RXcml0ZQB0Tsu/kAEAAAABAP////9hAGEAAAAFX2lkABAAAAAEncFZRzMuX0ibyD8xqaEapQREYXRhAAUAAAAAAk5hbWUADQAAAExpbmtEYXRhTGlzdAAQVmVyc2lvbgAAAAAACUxhc3RXcml0ZQBxTsu/kAEAAAACAP////9wAHAAAAAFX2lkABAAAAAE3dKn0OtMykKr81PgTV0dNwNEYXRhABYAAAACUGVyc29uYWxJZAABAAAAAAACTmFtZQALAAAAUGVyc29uYWxJZAAQVmVyc2lvbgAAAAAACUxhc3RXcml0ZQC7Tsu/k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D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EBAwAAAAMA////////DgAGTGlua0RhdGFMaXN0XzAEAAAAAQAFAAAAAAAFAAAAAgAEAAIBAwAAAAQA////////DAAGUGVyc29uYWxJZF8wBAAAAAIABQAAAAIABQAAAAEA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68014906718894"/>
  <p:tag name="EMPOWERCHARTSPROPERTIES_B_LENGTH" val="24576"/>
  <p:tag name="DOWN_MIGRATION_INITIAL_LAYOUT_REQUIRED" val="9.2.99"/>
  <p:tag name="RUNTIME_ID" val="4f69c77e-cd27-4179-af4b-332adecad136"/>
</p:tagLst>
</file>

<file path=ppt/theme/theme1.xml><?xml version="1.0" encoding="utf-8"?>
<a:theme xmlns:a="http://schemas.openxmlformats.org/drawingml/2006/main" name="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52114d1-18a8-489e-9364-2ed3f23c0a43" xsi:nil="true"/>
    <lcf76f155ced4ddcb4097134ff3c332f xmlns="580249cc-7c16-4110-ba65-05dc44dc9ad6">
      <Terms xmlns="http://schemas.microsoft.com/office/infopath/2007/PartnerControls"/>
    </lcf76f155ced4ddcb4097134ff3c332f>
    <SharedWithUsers xmlns="552114d1-18a8-489e-9364-2ed3f23c0a43">
      <UserInfo>
        <DisplayName>Johannes Teichmann</DisplayName>
        <AccountId>230</AccountId>
        <AccountType/>
      </UserInfo>
      <UserInfo>
        <DisplayName>Nils Leberecht</DisplayName>
        <AccountId>236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4E3E93DF3953F4C9387637778C61605" ma:contentTypeVersion="18" ma:contentTypeDescription="Create a new document." ma:contentTypeScope="" ma:versionID="091a890c858c38eb2e36a598107d348d">
  <xsd:schema xmlns:xsd="http://www.w3.org/2001/XMLSchema" xmlns:xs="http://www.w3.org/2001/XMLSchema" xmlns:p="http://schemas.microsoft.com/office/2006/metadata/properties" xmlns:ns2="580249cc-7c16-4110-ba65-05dc44dc9ad6" xmlns:ns3="552114d1-18a8-489e-9364-2ed3f23c0a43" targetNamespace="http://schemas.microsoft.com/office/2006/metadata/properties" ma:root="true" ma:fieldsID="69754bd0c9972140a9c7f84da44b08c0" ns2:_="" ns3:_="">
    <xsd:import namespace="580249cc-7c16-4110-ba65-05dc44dc9ad6"/>
    <xsd:import namespace="552114d1-18a8-489e-9364-2ed3f23c0a4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MediaServiceSearchProperties" minOccurs="0"/>
                <xsd:element ref="ns2:MediaServiceObjectDetectorVersion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0249cc-7c16-4110-ba65-05dc44dc9ad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d312512e-e748-4e8d-a186-dc228e0a25a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2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52114d1-18a8-489e-9364-2ed3f23c0a43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8" nillable="true" ma:displayName="Taxonomy Catch All Column" ma:hidden="true" ma:list="{92ef82d2-8952-40b6-91ae-57a38ae49215}" ma:internalName="TaxCatchAll" ma:showField="CatchAllData" ma:web="552114d1-18a8-489e-9364-2ed3f23c0a4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A1D780B-2F75-4ABC-8B6E-8E2D212D9D7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BBA9167-BCC0-4571-811D-3B8BB9457865}">
  <ds:schemaRefs>
    <ds:schemaRef ds:uri="http://schemas.microsoft.com/office/2006/documentManagement/types"/>
    <ds:schemaRef ds:uri="http://purl.org/dc/dcmitype/"/>
    <ds:schemaRef ds:uri="http://purl.org/dc/terms/"/>
    <ds:schemaRef ds:uri="http://www.w3.org/XML/1998/namespace"/>
    <ds:schemaRef ds:uri="http://schemas.microsoft.com/office/2006/metadata/properties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552114d1-18a8-489e-9364-2ed3f23c0a43"/>
    <ds:schemaRef ds:uri="580249cc-7c16-4110-ba65-05dc44dc9ad6"/>
  </ds:schemaRefs>
</ds:datastoreItem>
</file>

<file path=customXml/itemProps3.xml><?xml version="1.0" encoding="utf-8"?>
<ds:datastoreItem xmlns:ds="http://schemas.openxmlformats.org/officeDocument/2006/customXml" ds:itemID="{0D19C48D-6243-45EE-B20E-D8A28039CEAF}">
  <ds:schemaRefs>
    <ds:schemaRef ds:uri="552114d1-18a8-489e-9364-2ed3f23c0a43"/>
    <ds:schemaRef ds:uri="580249cc-7c16-4110-ba65-05dc44dc9ad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a0e4dedb-22ae-47cb-a490-2c1b9f99a0dc}" enabled="1" method="Privileged" siteId="{c7f7ef47-b60b-4df2-a621-b8379ce8bd3b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25</Words>
  <Application>Microsoft Office PowerPoint</Application>
  <PresentationFormat>Breitbild</PresentationFormat>
  <Paragraphs>18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7" baseType="lpstr">
      <vt:lpstr>accilium Clear Sans Bold</vt:lpstr>
      <vt:lpstr>accilium Clear Sans Light</vt:lpstr>
      <vt:lpstr>Arial</vt:lpstr>
      <vt:lpstr>Calibri</vt:lpstr>
      <vt:lpstr>Benutzerdefiniertes Design</vt:lpstr>
      <vt:lpstr>think-cell Slide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Katharina Jeczawitz</dc:creator>
  <cp:lastModifiedBy>Dennis Deutschkämer</cp:lastModifiedBy>
  <cp:revision>2</cp:revision>
  <dcterms:created xsi:type="dcterms:W3CDTF">2024-10-28T13:14:51Z</dcterms:created>
  <dcterms:modified xsi:type="dcterms:W3CDTF">2024-11-05T11:57:19Z</dcterms:modified>
</cp:coreProperties>
</file>